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  <p:sldId id="259" r:id="rId4"/>
    <p:sldId id="260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78" autoAdjust="0"/>
    <p:restoredTop sz="94660"/>
  </p:normalViewPr>
  <p:slideViewPr>
    <p:cSldViewPr snapToGrid="0">
      <p:cViewPr varScale="1">
        <p:scale>
          <a:sx n="87" d="100"/>
          <a:sy n="87" d="100"/>
        </p:scale>
        <p:origin x="114" y="1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HK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0">
                <a:latin typeface="Segoe UI Light" panose="020B0502040204020203" pitchFamily="34" charset="0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42902299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_Base_GD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49" y="0"/>
            <a:ext cx="11952651" cy="836712"/>
          </a:xfrm>
        </p:spPr>
        <p:txBody>
          <a:bodyPr>
            <a:normAutofit/>
          </a:bodyPr>
          <a:lstStyle>
            <a:lvl1pPr algn="l">
              <a:defRPr sz="2400" b="0">
                <a:solidFill>
                  <a:srgbClr val="33018D"/>
                </a:solidFill>
                <a:latin typeface="+mn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43339" cy="836712"/>
          </a:xfrm>
          <a:prstGeom prst="rect">
            <a:avLst/>
          </a:prstGeom>
          <a:solidFill>
            <a:srgbClr val="330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800"/>
          </a:p>
        </p:txBody>
      </p:sp>
      <p:pic>
        <p:nvPicPr>
          <p:cNvPr id="1026" name="Picture 2" descr="\\OAFILE04\tdychoy$\Desktop\GDR logo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576" y="128354"/>
            <a:ext cx="751483" cy="58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7706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_Block_GD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OAFILE04\tdychoy$\Desktop\GDR logo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576" y="128354"/>
            <a:ext cx="751483" cy="58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7A7B87-36D2-4EB4-9108-46F708DAD0C7}"/>
              </a:ext>
            </a:extLst>
          </p:cNvPr>
          <p:cNvSpPr/>
          <p:nvPr userDrawn="1"/>
        </p:nvSpPr>
        <p:spPr>
          <a:xfrm>
            <a:off x="0" y="0"/>
            <a:ext cx="1019605" cy="764704"/>
          </a:xfrm>
          <a:prstGeom prst="rect">
            <a:avLst/>
          </a:prstGeom>
          <a:solidFill>
            <a:srgbClr val="330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6" name="Picture 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18363E7-996A-4D54-89D6-AA41BACA3C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01" y="116649"/>
            <a:ext cx="688403" cy="53140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06E84AC-77EE-4A0E-B205-B907E1F2C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03" y="0"/>
            <a:ext cx="11172396" cy="764704"/>
          </a:xfrm>
          <a:solidFill>
            <a:schemeClr val="bg2"/>
          </a:solidFill>
        </p:spPr>
        <p:txBody>
          <a:bodyPr>
            <a:normAutofit/>
          </a:bodyPr>
          <a:lstStyle>
            <a:lvl1pPr algn="ctr">
              <a:defRPr sz="2400" b="0">
                <a:solidFill>
                  <a:srgbClr val="33018D"/>
                </a:solidFill>
                <a:latin typeface="+mj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3D0E20-0414-4B24-9943-124DE1CF03EE}"/>
              </a:ext>
            </a:extLst>
          </p:cNvPr>
          <p:cNvSpPr/>
          <p:nvPr userDrawn="1"/>
        </p:nvSpPr>
        <p:spPr>
          <a:xfrm>
            <a:off x="0" y="6741351"/>
            <a:ext cx="12192000" cy="1224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700" dirty="0"/>
              <a:t>© 2019 HONG KONG MONETARY AUTHORITY</a:t>
            </a:r>
          </a:p>
        </p:txBody>
      </p:sp>
      <p:sp>
        <p:nvSpPr>
          <p:cNvPr id="11" name="Partial Circle 10">
            <a:extLst>
              <a:ext uri="{FF2B5EF4-FFF2-40B4-BE49-F238E27FC236}">
                <a16:creationId xmlns:a16="http://schemas.microsoft.com/office/drawing/2014/main" id="{5F05F146-2C79-4FB4-BA25-101DD7D5944D}"/>
              </a:ext>
            </a:extLst>
          </p:cNvPr>
          <p:cNvSpPr/>
          <p:nvPr userDrawn="1"/>
        </p:nvSpPr>
        <p:spPr>
          <a:xfrm rot="5400000">
            <a:off x="5972825" y="6558723"/>
            <a:ext cx="485696" cy="562956"/>
          </a:xfrm>
          <a:prstGeom prst="pie">
            <a:avLst>
              <a:gd name="adj1" fmla="val 5394126"/>
              <a:gd name="adj2" fmla="val 16223664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t" anchorCtr="1">
            <a:noAutofit/>
          </a:bodyPr>
          <a:lstStyle/>
          <a:p>
            <a:pPr algn="ctr"/>
            <a:fld id="{D9B48F44-068C-4AF9-8D02-892E2152DD0D}" type="slidenum">
              <a:rPr lang="en-GB" sz="1100" smtClean="0">
                <a:solidFill>
                  <a:schemeClr val="tx1"/>
                </a:solidFill>
              </a:rPr>
              <a:t>‹#›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43055C5-2E53-49D5-8A65-EC1D6C6914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50121" y="6741352"/>
            <a:ext cx="3456384" cy="125377"/>
          </a:xfrm>
        </p:spPr>
        <p:txBody>
          <a:bodyPr anchor="ctr">
            <a:noAutofit/>
          </a:bodyPr>
          <a:lstStyle>
            <a:lvl1pPr marL="0" indent="0" algn="r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2455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_Block_Base_GD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OAFILE04\tdychoy$\Desktop\GDR logo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576" y="128354"/>
            <a:ext cx="751483" cy="58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7A7B87-36D2-4EB4-9108-46F708DAD0C7}"/>
              </a:ext>
            </a:extLst>
          </p:cNvPr>
          <p:cNvSpPr/>
          <p:nvPr userDrawn="1"/>
        </p:nvSpPr>
        <p:spPr>
          <a:xfrm>
            <a:off x="0" y="0"/>
            <a:ext cx="1019605" cy="764704"/>
          </a:xfrm>
          <a:prstGeom prst="rect">
            <a:avLst/>
          </a:prstGeom>
          <a:solidFill>
            <a:srgbClr val="330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6" name="Picture 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18363E7-996A-4D54-89D6-AA41BACA3C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01" y="116649"/>
            <a:ext cx="688403" cy="53140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06E84AC-77EE-4A0E-B205-B907E1F2C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03" y="0"/>
            <a:ext cx="11172396" cy="764704"/>
          </a:xfrm>
          <a:solidFill>
            <a:schemeClr val="bg2"/>
          </a:solidFill>
        </p:spPr>
        <p:txBody>
          <a:bodyPr>
            <a:normAutofit/>
          </a:bodyPr>
          <a:lstStyle>
            <a:lvl1pPr algn="ctr">
              <a:defRPr sz="2400" b="0">
                <a:solidFill>
                  <a:srgbClr val="33018D"/>
                </a:solidFill>
                <a:latin typeface="+mj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3D0E20-0414-4B24-9943-124DE1CF03EE}"/>
              </a:ext>
            </a:extLst>
          </p:cNvPr>
          <p:cNvSpPr/>
          <p:nvPr userDrawn="1"/>
        </p:nvSpPr>
        <p:spPr>
          <a:xfrm>
            <a:off x="0" y="6741351"/>
            <a:ext cx="12192000" cy="1224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700" dirty="0"/>
              <a:t>© 2019 HONG KONG MONETARY AUTHORIT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43055C5-2E53-49D5-8A65-EC1D6C6914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50121" y="6741352"/>
            <a:ext cx="3456384" cy="125377"/>
          </a:xfrm>
        </p:spPr>
        <p:txBody>
          <a:bodyPr anchor="ctr">
            <a:noAutofit/>
          </a:bodyPr>
          <a:lstStyle>
            <a:lvl1pPr marL="0" indent="0" algn="r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5370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DR Project Light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OAFILE04\tdychoy$\Desktop\GDR logo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576" y="128354"/>
            <a:ext cx="751483" cy="58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7A7B87-36D2-4EB4-9108-46F708DAD0C7}"/>
              </a:ext>
            </a:extLst>
          </p:cNvPr>
          <p:cNvSpPr/>
          <p:nvPr userDrawn="1"/>
        </p:nvSpPr>
        <p:spPr>
          <a:xfrm>
            <a:off x="0" y="0"/>
            <a:ext cx="1019605" cy="76470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06E84AC-77EE-4A0E-B205-B907E1F2C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03" y="0"/>
            <a:ext cx="11172396" cy="764704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algn="ctr"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3D0E20-0414-4B24-9943-124DE1CF03EE}"/>
              </a:ext>
            </a:extLst>
          </p:cNvPr>
          <p:cNvSpPr/>
          <p:nvPr userDrawn="1"/>
        </p:nvSpPr>
        <p:spPr>
          <a:xfrm>
            <a:off x="0" y="6741351"/>
            <a:ext cx="12192000" cy="1224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700" dirty="0"/>
              <a:t>© 2019 HONG KONG MONETARY AUTHORIT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43055C5-2E53-49D5-8A65-EC1D6C6914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50121" y="6741352"/>
            <a:ext cx="3456384" cy="125377"/>
          </a:xfrm>
        </p:spPr>
        <p:txBody>
          <a:bodyPr anchor="ctr">
            <a:noAutofit/>
          </a:bodyPr>
          <a:lstStyle>
            <a:lvl1pPr marL="0" indent="0" algn="r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 descr="A picture containing text&#10;&#10;Description generated with high confidence">
            <a:extLst>
              <a:ext uri="{FF2B5EF4-FFF2-40B4-BE49-F238E27FC236}">
                <a16:creationId xmlns:a16="http://schemas.microsoft.com/office/drawing/2014/main" id="{11123868-F48F-4396-B538-AE100702A7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19" y="178752"/>
            <a:ext cx="732967" cy="424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727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DR Project Light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OAFILE04\tdychoy$\Desktop\GDR logo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576" y="128354"/>
            <a:ext cx="751483" cy="58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7A7B87-36D2-4EB4-9108-46F708DAD0C7}"/>
              </a:ext>
            </a:extLst>
          </p:cNvPr>
          <p:cNvSpPr/>
          <p:nvPr userDrawn="1"/>
        </p:nvSpPr>
        <p:spPr>
          <a:xfrm>
            <a:off x="0" y="0"/>
            <a:ext cx="1019605" cy="76470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06E84AC-77EE-4A0E-B205-B907E1F2C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03" y="0"/>
            <a:ext cx="11172396" cy="764704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400" b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3D0E20-0414-4B24-9943-124DE1CF03EE}"/>
              </a:ext>
            </a:extLst>
          </p:cNvPr>
          <p:cNvSpPr/>
          <p:nvPr userDrawn="1"/>
        </p:nvSpPr>
        <p:spPr>
          <a:xfrm>
            <a:off x="0" y="6741351"/>
            <a:ext cx="12192000" cy="1224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700" dirty="0"/>
              <a:t>© 2019 HONG KONG MONETARY AUTHORIT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43055C5-2E53-49D5-8A65-EC1D6C6914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50121" y="6741352"/>
            <a:ext cx="3456384" cy="125377"/>
          </a:xfrm>
        </p:spPr>
        <p:txBody>
          <a:bodyPr anchor="ctr">
            <a:noAutofit/>
          </a:bodyPr>
          <a:lstStyle>
            <a:lvl1pPr marL="0" indent="0" algn="r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 descr="A picture containing text&#10;&#10;Description generated with high confidence">
            <a:extLst>
              <a:ext uri="{FF2B5EF4-FFF2-40B4-BE49-F238E27FC236}">
                <a16:creationId xmlns:a16="http://schemas.microsoft.com/office/drawing/2014/main" id="{11123868-F48F-4396-B538-AE100702A7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19" y="178752"/>
            <a:ext cx="732967" cy="424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376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PCO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OAFILE04\tdychoy$\Desktop\GDR logo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576" y="128354"/>
            <a:ext cx="751483" cy="58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7A7B87-36D2-4EB4-9108-46F708DAD0C7}"/>
              </a:ext>
            </a:extLst>
          </p:cNvPr>
          <p:cNvSpPr/>
          <p:nvPr userDrawn="1"/>
        </p:nvSpPr>
        <p:spPr>
          <a:xfrm>
            <a:off x="0" y="0"/>
            <a:ext cx="1019605" cy="76470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06E84AC-77EE-4A0E-B205-B907E1F2C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03" y="0"/>
            <a:ext cx="11172396" cy="764704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400" b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3D0E20-0414-4B24-9943-124DE1CF03EE}"/>
              </a:ext>
            </a:extLst>
          </p:cNvPr>
          <p:cNvSpPr/>
          <p:nvPr userDrawn="1"/>
        </p:nvSpPr>
        <p:spPr>
          <a:xfrm>
            <a:off x="0" y="6741351"/>
            <a:ext cx="12192000" cy="1224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700" dirty="0"/>
              <a:t>© 2019 HONG KONG MONETARY AUTHORIT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43055C5-2E53-49D5-8A65-EC1D6C6914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50121" y="6741352"/>
            <a:ext cx="3456384" cy="125377"/>
          </a:xfrm>
        </p:spPr>
        <p:txBody>
          <a:bodyPr anchor="ctr">
            <a:noAutofit/>
          </a:bodyPr>
          <a:lstStyle>
            <a:lvl1pPr marL="0" indent="0" algn="r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123868-F48F-4396-B538-AE100702A7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74" y="142858"/>
            <a:ext cx="815857" cy="56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824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PCO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OAFILE04\tdychoy$\Desktop\GDR logo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576" y="128354"/>
            <a:ext cx="751483" cy="58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7A7B87-36D2-4EB4-9108-46F708DAD0C7}"/>
              </a:ext>
            </a:extLst>
          </p:cNvPr>
          <p:cNvSpPr/>
          <p:nvPr userDrawn="1"/>
        </p:nvSpPr>
        <p:spPr>
          <a:xfrm>
            <a:off x="0" y="0"/>
            <a:ext cx="1019605" cy="764704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06E84AC-77EE-4A0E-B205-B907E1F2C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03" y="0"/>
            <a:ext cx="11172396" cy="764704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400" b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3D0E20-0414-4B24-9943-124DE1CF03EE}"/>
              </a:ext>
            </a:extLst>
          </p:cNvPr>
          <p:cNvSpPr/>
          <p:nvPr userDrawn="1"/>
        </p:nvSpPr>
        <p:spPr>
          <a:xfrm>
            <a:off x="0" y="6741351"/>
            <a:ext cx="12192000" cy="1224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700" dirty="0"/>
              <a:t>© 2019 HONG KONG MONETARY AUTHORIT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43055C5-2E53-49D5-8A65-EC1D6C6914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50121" y="6741352"/>
            <a:ext cx="3456384" cy="125377"/>
          </a:xfrm>
        </p:spPr>
        <p:txBody>
          <a:bodyPr anchor="ctr">
            <a:noAutofit/>
          </a:bodyPr>
          <a:lstStyle>
            <a:lvl1pPr marL="0" indent="0" algn="r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123868-F48F-4396-B538-AE100702A7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74" y="128354"/>
            <a:ext cx="815857" cy="565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2713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DR Project Dark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FE2501F-3BAD-411E-AC60-210874408776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06E84AC-77EE-4A0E-B205-B907E1F2C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03" y="0"/>
            <a:ext cx="11172396" cy="764704"/>
          </a:xfrm>
          <a:noFill/>
        </p:spPr>
        <p:txBody>
          <a:bodyPr>
            <a:normAutofit/>
          </a:bodyPr>
          <a:lstStyle>
            <a:lvl1pPr algn="ctr"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3D0E20-0414-4B24-9943-124DE1CF03EE}"/>
              </a:ext>
            </a:extLst>
          </p:cNvPr>
          <p:cNvSpPr/>
          <p:nvPr userDrawn="1"/>
        </p:nvSpPr>
        <p:spPr>
          <a:xfrm>
            <a:off x="0" y="6741351"/>
            <a:ext cx="12192000" cy="1224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700" dirty="0"/>
              <a:t>© 2019 HONG KONG MONETARY AUTHORIT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43055C5-2E53-49D5-8A65-EC1D6C6914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50121" y="6741352"/>
            <a:ext cx="3456384" cy="125377"/>
          </a:xfrm>
        </p:spPr>
        <p:txBody>
          <a:bodyPr anchor="ctr">
            <a:noAutofit/>
          </a:bodyPr>
          <a:lstStyle>
            <a:lvl1pPr marL="0" indent="0" algn="r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4" name="Picture 3" descr="A picture containing text&#10;&#10;Description generated with high confidence">
            <a:extLst>
              <a:ext uri="{FF2B5EF4-FFF2-40B4-BE49-F238E27FC236}">
                <a16:creationId xmlns:a16="http://schemas.microsoft.com/office/drawing/2014/main" id="{A12D1212-76E3-4859-8A6A-8BD1C063A0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69" y="174923"/>
            <a:ext cx="732967" cy="424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9392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F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49" y="0"/>
            <a:ext cx="11952651" cy="836712"/>
          </a:xfrm>
        </p:spPr>
        <p:txBody>
          <a:bodyPr>
            <a:normAutofit/>
          </a:bodyPr>
          <a:lstStyle>
            <a:lvl1pPr algn="l">
              <a:defRPr sz="2400" b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43339" cy="83671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8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D9F24-8F29-4405-9B7C-B8544130A8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52370" y="116633"/>
            <a:ext cx="900281" cy="589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72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FO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OAFILE04\tdychoy$\Desktop\GDR logo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576" y="128354"/>
            <a:ext cx="751483" cy="580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37A7B87-36D2-4EB4-9108-46F708DAD0C7}"/>
              </a:ext>
            </a:extLst>
          </p:cNvPr>
          <p:cNvSpPr/>
          <p:nvPr userDrawn="1"/>
        </p:nvSpPr>
        <p:spPr>
          <a:xfrm>
            <a:off x="0" y="0"/>
            <a:ext cx="1019605" cy="76470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06E84AC-77EE-4A0E-B205-B907E1F2C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03" y="0"/>
            <a:ext cx="11172396" cy="764704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400" b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3D0E20-0414-4B24-9943-124DE1CF03EE}"/>
              </a:ext>
            </a:extLst>
          </p:cNvPr>
          <p:cNvSpPr/>
          <p:nvPr userDrawn="1"/>
        </p:nvSpPr>
        <p:spPr>
          <a:xfrm>
            <a:off x="0" y="6741351"/>
            <a:ext cx="12192000" cy="12240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700" dirty="0"/>
              <a:t>© 2019 HONG KONG MONETARY AUTHORIT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43055C5-2E53-49D5-8A65-EC1D6C6914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50121" y="6741352"/>
            <a:ext cx="3456384" cy="125377"/>
          </a:xfrm>
        </p:spPr>
        <p:txBody>
          <a:bodyPr anchor="ctr">
            <a:noAutofit/>
          </a:bodyPr>
          <a:lstStyle>
            <a:lvl1pPr marL="0" indent="0" algn="r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8C49005-426F-4700-83A5-4A8EF71E271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9761" y="172721"/>
            <a:ext cx="640084" cy="419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952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_Base_HK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49" y="0"/>
            <a:ext cx="11952651" cy="836712"/>
          </a:xfrm>
        </p:spPr>
        <p:txBody>
          <a:bodyPr>
            <a:normAutofit/>
          </a:bodyPr>
          <a:lstStyle>
            <a:lvl1pPr algn="l">
              <a:defRPr sz="2400" b="0">
                <a:solidFill>
                  <a:srgbClr val="33018D"/>
                </a:solidFill>
                <a:latin typeface="+mn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43339" cy="836712"/>
          </a:xfrm>
          <a:prstGeom prst="rect">
            <a:avLst/>
          </a:prstGeom>
          <a:solidFill>
            <a:srgbClr val="330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800"/>
          </a:p>
        </p:txBody>
      </p:sp>
      <p:pic>
        <p:nvPicPr>
          <p:cNvPr id="6" name="Picture 5" descr="Image result for hkma logo transparent">
            <a:extLst>
              <a:ext uri="{FF2B5EF4-FFF2-40B4-BE49-F238E27FC236}">
                <a16:creationId xmlns:a16="http://schemas.microsoft.com/office/drawing/2014/main" id="{3BD8EA01-DF46-4CC1-BE7E-824C8E56D41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4593" y="128352"/>
            <a:ext cx="581919" cy="58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9689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AD9BE-15FD-484D-B48D-66C482488E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413" y="3226668"/>
            <a:ext cx="10465163" cy="445740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8F68EA-FC28-4DE1-864A-8C8EEE1881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5414" y="2780928"/>
            <a:ext cx="7103533" cy="445740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  <a:lvl2pPr>
              <a:defRPr lang="en-US" sz="1800" dirty="0" smtClean="0">
                <a:latin typeface="+mn-lt"/>
              </a:defRPr>
            </a:lvl2pPr>
            <a:lvl3pPr>
              <a:defRPr lang="en-US" sz="1800" dirty="0" smtClean="0">
                <a:latin typeface="+mn-lt"/>
              </a:defRPr>
            </a:lvl3pPr>
            <a:lvl4pPr>
              <a:defRPr lang="en-US" sz="1800" dirty="0" smtClean="0">
                <a:latin typeface="+mn-lt"/>
              </a:defRPr>
            </a:lvl4pPr>
            <a:lvl5pPr>
              <a:defRPr lang="en-GB" sz="1800" dirty="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0228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98983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_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49" y="0"/>
            <a:ext cx="11952651" cy="836712"/>
          </a:xfrm>
        </p:spPr>
        <p:txBody>
          <a:bodyPr>
            <a:normAutofit/>
          </a:bodyPr>
          <a:lstStyle>
            <a:lvl1pPr algn="l"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741368"/>
            <a:ext cx="11856640" cy="11663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/>
          <a:lstStyle/>
          <a:p>
            <a:pPr algn="l"/>
            <a:r>
              <a:rPr lang="en-GB" altLang="zh-TW" sz="800" b="1" dirty="0">
                <a:latin typeface="+mj-lt"/>
              </a:rPr>
              <a:t>INTERNAL USE ONLY</a:t>
            </a:r>
            <a:r>
              <a:rPr lang="en-GB" altLang="zh-TW" sz="800" dirty="0"/>
              <a:t> - HONG KONG MONETARY AUTHORITY - DIGITALISATION OFFICE</a:t>
            </a:r>
            <a:endParaRPr lang="zh-TW" altLang="en-US" sz="80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52584" y="94320"/>
            <a:ext cx="776593" cy="648072"/>
          </a:xfrm>
          <a:prstGeom prst="rect">
            <a:avLst/>
          </a:prstGeom>
        </p:spPr>
      </p:pic>
      <p:sp>
        <p:nvSpPr>
          <p:cNvPr id="8" name="Freeform: Shape 5">
            <a:extLst>
              <a:ext uri="{FF2B5EF4-FFF2-40B4-BE49-F238E27FC236}">
                <a16:creationId xmlns:a16="http://schemas.microsoft.com/office/drawing/2014/main" id="{866CC93C-099A-4612-B7F9-EE747FC26E2D}"/>
              </a:ext>
            </a:extLst>
          </p:cNvPr>
          <p:cNvSpPr/>
          <p:nvPr userDrawn="1"/>
        </p:nvSpPr>
        <p:spPr>
          <a:xfrm>
            <a:off x="0" y="0"/>
            <a:ext cx="119336" cy="836712"/>
          </a:xfrm>
          <a:custGeom>
            <a:avLst/>
            <a:gdLst>
              <a:gd name="connsiteX0" fmla="*/ 0 w 655240"/>
              <a:gd name="connsiteY0" fmla="*/ 0 h 1512168"/>
              <a:gd name="connsiteX1" fmla="*/ 655240 w 655240"/>
              <a:gd name="connsiteY1" fmla="*/ 0 h 1512168"/>
              <a:gd name="connsiteX2" fmla="*/ 655240 w 655240"/>
              <a:gd name="connsiteY2" fmla="*/ 1512168 h 1512168"/>
              <a:gd name="connsiteX3" fmla="*/ 0 w 655240"/>
              <a:gd name="connsiteY3" fmla="*/ 1512168 h 1512168"/>
              <a:gd name="connsiteX4" fmla="*/ 0 w 655240"/>
              <a:gd name="connsiteY4" fmla="*/ 1328991 h 1512168"/>
              <a:gd name="connsiteX5" fmla="*/ 28775 w 655240"/>
              <a:gd name="connsiteY5" fmla="*/ 1327080 h 1512168"/>
              <a:gd name="connsiteX6" fmla="*/ 451415 w 655240"/>
              <a:gd name="connsiteY6" fmla="*/ 1043979 h 1512168"/>
              <a:gd name="connsiteX7" fmla="*/ 451177 w 655240"/>
              <a:gd name="connsiteY7" fmla="*/ 467777 h 1512168"/>
              <a:gd name="connsiteX8" fmla="*/ 28303 w 655240"/>
              <a:gd name="connsiteY8" fmla="*/ 185026 h 1512168"/>
              <a:gd name="connsiteX9" fmla="*/ 0 w 655240"/>
              <a:gd name="connsiteY9" fmla="*/ 183170 h 1512168"/>
              <a:gd name="connsiteX10" fmla="*/ 0 w 655240"/>
              <a:gd name="connsiteY10" fmla="*/ 0 h 1512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5240" h="1512168">
                <a:moveTo>
                  <a:pt x="0" y="0"/>
                </a:moveTo>
                <a:lnTo>
                  <a:pt x="655240" y="0"/>
                </a:lnTo>
                <a:lnTo>
                  <a:pt x="655240" y="1512168"/>
                </a:lnTo>
                <a:lnTo>
                  <a:pt x="0" y="1512168"/>
                </a:lnTo>
                <a:lnTo>
                  <a:pt x="0" y="1328991"/>
                </a:lnTo>
                <a:lnTo>
                  <a:pt x="28775" y="1327080"/>
                </a:lnTo>
                <a:cubicBezTo>
                  <a:pt x="204504" y="1303615"/>
                  <a:pt x="361393" y="1200002"/>
                  <a:pt x="451415" y="1043979"/>
                </a:cubicBezTo>
                <a:cubicBezTo>
                  <a:pt x="554299" y="865666"/>
                  <a:pt x="554208" y="646004"/>
                  <a:pt x="451177" y="467777"/>
                </a:cubicBezTo>
                <a:cubicBezTo>
                  <a:pt x="361025" y="311828"/>
                  <a:pt x="204051" y="208346"/>
                  <a:pt x="28303" y="185026"/>
                </a:cubicBezTo>
                <a:lnTo>
                  <a:pt x="0" y="18317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 userDrawn="1"/>
        </p:nvSpPr>
        <p:spPr>
          <a:xfrm>
            <a:off x="119336" y="0"/>
            <a:ext cx="45719" cy="83671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11856640" y="6741368"/>
            <a:ext cx="335360" cy="1166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AC15AF52-7E32-4C51-95F4-E95707E25B4D}" type="slidenum">
              <a:rPr lang="en-GB" sz="8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951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0">
                <a:latin typeface="Segoe UI Light" panose="020B0502040204020203" pitchFamily="34" charset="0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97352"/>
            <a:ext cx="12192000" cy="26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050" dirty="0">
              <a:latin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35940" y="6597353"/>
            <a:ext cx="15535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1" dirty="0">
                <a:solidFill>
                  <a:srgbClr val="33018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</a:t>
            </a:r>
            <a:endParaRPr lang="zh-TW" altLang="en-US" sz="1400" b="1" dirty="0">
              <a:solidFill>
                <a:srgbClr val="33018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364609" y="6597353"/>
            <a:ext cx="10278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dirty="0">
                <a:solidFill>
                  <a:srgbClr val="33018D"/>
                </a:solidFill>
                <a:latin typeface="Segoe UI Light" panose="020B0502040204020203" pitchFamily="34" charset="0"/>
              </a:rPr>
              <a:t>SOURCING</a:t>
            </a:r>
            <a:endParaRPr lang="zh-TW" altLang="en-US" sz="140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284037" y="6597353"/>
            <a:ext cx="1664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dirty="0">
                <a:solidFill>
                  <a:srgbClr val="33018D"/>
                </a:solidFill>
                <a:latin typeface="Segoe UI Light" panose="020B0502040204020203" pitchFamily="34" charset="0"/>
              </a:rPr>
              <a:t>STANDARDIZATION</a:t>
            </a:r>
            <a:endParaRPr lang="zh-TW" altLang="en-US" sz="140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9919820" y="6597353"/>
            <a:ext cx="13067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dirty="0">
                <a:solidFill>
                  <a:srgbClr val="33018D"/>
                </a:solidFill>
                <a:latin typeface="Segoe UI Light" panose="020B0502040204020203" pitchFamily="34" charset="0"/>
              </a:rPr>
              <a:t>GOVERNANCE</a:t>
            </a:r>
            <a:endParaRPr lang="zh-TW" altLang="en-US" sz="140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867620" y="6597353"/>
            <a:ext cx="11909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dirty="0">
                <a:solidFill>
                  <a:srgbClr val="33018D"/>
                </a:solidFill>
                <a:latin typeface="Segoe UI Light" panose="020B0502040204020203" pitchFamily="34" charset="0"/>
              </a:rPr>
              <a:t>COLLECTION</a:t>
            </a:r>
            <a:endParaRPr lang="zh-TW" altLang="en-US" sz="140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007435" y="6597352"/>
            <a:ext cx="1440160" cy="0"/>
          </a:xfrm>
          <a:prstGeom prst="line">
            <a:avLst/>
          </a:prstGeom>
          <a:ln w="19050">
            <a:solidFill>
              <a:srgbClr val="3301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39398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r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0">
                <a:latin typeface="Segoe UI Light" panose="020B0502040204020203" pitchFamily="34" charset="0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97352"/>
            <a:ext cx="12192000" cy="26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050" b="0" dirty="0">
              <a:latin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99995" y="6597353"/>
            <a:ext cx="14253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326202" y="6597353"/>
            <a:ext cx="1104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1" dirty="0">
                <a:solidFill>
                  <a:srgbClr val="33018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OURCING</a:t>
            </a:r>
            <a:endParaRPr lang="zh-TW" altLang="en-US" sz="1400" b="1" dirty="0">
              <a:solidFill>
                <a:srgbClr val="33018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284037" y="6597353"/>
            <a:ext cx="1664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STANDARDIZA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9919820" y="6597353"/>
            <a:ext cx="13067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GOVERNANCE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867620" y="6597353"/>
            <a:ext cx="11909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COLLEC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119669" y="6597352"/>
            <a:ext cx="1440160" cy="0"/>
          </a:xfrm>
          <a:prstGeom prst="line">
            <a:avLst/>
          </a:prstGeom>
          <a:ln w="19050">
            <a:solidFill>
              <a:srgbClr val="3301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74769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iz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0">
                <a:latin typeface="Segoe UI Light" panose="020B0502040204020203" pitchFamily="34" charset="0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97352"/>
            <a:ext cx="12192000" cy="26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050" b="0" dirty="0">
              <a:latin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99995" y="6597353"/>
            <a:ext cx="14253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364609" y="6597353"/>
            <a:ext cx="10278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SOURCING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180419" y="6597353"/>
            <a:ext cx="18720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1" dirty="0">
                <a:solidFill>
                  <a:srgbClr val="33018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NDARDIZATION</a:t>
            </a:r>
            <a:endParaRPr lang="zh-TW" altLang="en-US" sz="1400" b="1" dirty="0">
              <a:solidFill>
                <a:srgbClr val="33018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9919820" y="6597353"/>
            <a:ext cx="13067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GOVERNANCE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867620" y="6597353"/>
            <a:ext cx="11909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COLLEC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327915" y="6597352"/>
            <a:ext cx="1440160" cy="0"/>
          </a:xfrm>
          <a:prstGeom prst="line">
            <a:avLst/>
          </a:prstGeom>
          <a:ln w="19050">
            <a:solidFill>
              <a:srgbClr val="3301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122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0">
                <a:latin typeface="Segoe UI Light" panose="020B0502040204020203" pitchFamily="34" charset="0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97352"/>
            <a:ext cx="12192000" cy="26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050" b="0" dirty="0">
              <a:latin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99995" y="6597353"/>
            <a:ext cx="14253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364609" y="6597353"/>
            <a:ext cx="10278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SOURCING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284037" y="6597353"/>
            <a:ext cx="1664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STANDARDIZA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9919820" y="6597353"/>
            <a:ext cx="13067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GOVERNANCE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832452" y="6597353"/>
            <a:ext cx="12613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1" dirty="0">
                <a:solidFill>
                  <a:srgbClr val="33018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LLECTION</a:t>
            </a:r>
            <a:endParaRPr lang="zh-TW" altLang="en-US" sz="1400" b="1" dirty="0">
              <a:solidFill>
                <a:srgbClr val="33018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7728181" y="6597352"/>
            <a:ext cx="1440160" cy="0"/>
          </a:xfrm>
          <a:prstGeom prst="line">
            <a:avLst/>
          </a:prstGeom>
          <a:ln w="19050">
            <a:solidFill>
              <a:srgbClr val="3301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6869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vern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0">
                <a:latin typeface="Segoe UI Light" panose="020B0502040204020203" pitchFamily="34" charset="0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97352"/>
            <a:ext cx="12192000" cy="26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050" b="0" dirty="0">
              <a:latin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99995" y="6597353"/>
            <a:ext cx="14253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364609" y="6597353"/>
            <a:ext cx="10278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SOURCING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284037" y="6597353"/>
            <a:ext cx="16648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STANDARDIZA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9873333" y="6597353"/>
            <a:ext cx="13997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1" dirty="0">
                <a:solidFill>
                  <a:srgbClr val="33018D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OVERNANCE</a:t>
            </a:r>
            <a:endParaRPr lang="zh-TW" altLang="en-US" sz="1400" b="1" dirty="0">
              <a:solidFill>
                <a:srgbClr val="33018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867620" y="6597353"/>
            <a:ext cx="11909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altLang="zh-TW" sz="1400" b="0" dirty="0">
                <a:solidFill>
                  <a:srgbClr val="33018D"/>
                </a:solidFill>
                <a:latin typeface="Segoe UI Light" panose="020B0502040204020203" pitchFamily="34" charset="0"/>
              </a:rPr>
              <a:t>COLLECTION</a:t>
            </a:r>
            <a:endParaRPr lang="zh-TW" altLang="en-US" sz="1400" b="0" dirty="0">
              <a:solidFill>
                <a:srgbClr val="33018D"/>
              </a:solidFill>
              <a:latin typeface="Segoe UI Light" panose="020B0502040204020203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9840416" y="6597352"/>
            <a:ext cx="1440160" cy="0"/>
          </a:xfrm>
          <a:prstGeom prst="line">
            <a:avLst/>
          </a:prstGeom>
          <a:ln w="19050">
            <a:solidFill>
              <a:srgbClr val="3301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1332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FSS_HKMA">
    <p:bg>
      <p:bgPr>
        <a:solidFill>
          <a:srgbClr val="3301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1803" y="2780928"/>
            <a:ext cx="9648395" cy="836712"/>
          </a:xfrm>
        </p:spPr>
        <p:txBody>
          <a:bodyPr/>
          <a:lstStyle>
            <a:lvl1pPr>
              <a:defRPr b="0">
                <a:latin typeface="Segoe UI Light" panose="020B0502040204020203" pitchFamily="34" charset="0"/>
              </a:defRPr>
            </a:lvl1pPr>
          </a:lstStyle>
          <a:p>
            <a:r>
              <a:rPr lang="en-US" altLang="zh-TW"/>
              <a:t>Click to edit Master title style</a:t>
            </a:r>
            <a:endParaRPr lang="zh-TW" alt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239349" cy="6858000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800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350" y="251356"/>
            <a:ext cx="3982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altLang="zh-TW" sz="1800" baseline="0" dirty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INANCIAL </a:t>
            </a:r>
            <a:r>
              <a:rPr lang="en-GB" altLang="zh-TW" sz="1800" b="1" baseline="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BILITY</a:t>
            </a:r>
            <a:r>
              <a:rPr lang="en-GB" altLang="zh-TW" sz="1800" baseline="0" dirty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SURVEILLANCE</a:t>
            </a:r>
            <a:endParaRPr lang="zh-TW" altLang="en-US" sz="18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060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TW"/>
              <a:t>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-2720"/>
            <a:ext cx="12192000" cy="836712"/>
          </a:xfrm>
          <a:prstGeom prst="rect">
            <a:avLst/>
          </a:prstGeom>
          <a:solidFill>
            <a:srgbClr val="330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 sz="18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2" descr="https://upload.wikimedia.org/wikipedia/en/thumb/f/f5/Hong_Kong_Monetary_Authority_%28emblem%29.svg/480px-Hong_Kong_Monetary_Authority_%28emblem%29.svg.png"/>
          <p:cNvPicPr>
            <a:picLocks noChangeAspect="1" noChangeArrowheads="1"/>
          </p:cNvPicPr>
          <p:nvPr/>
        </p:nvPicPr>
        <p:blipFill>
          <a:blip r:embed="rId2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577" y="173764"/>
            <a:ext cx="652247" cy="489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67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/>
              <a:t>Click to edit Master title style</a:t>
            </a:r>
            <a:endParaRPr lang="zh-TW" alt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520260"/>
            <a:ext cx="12192000" cy="36512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 sz="1050">
                <a:latin typeface="Segoe UI Light" panose="020B0502040204020203" pitchFamily="34" charset="0"/>
              </a:defRPr>
            </a:lvl1pPr>
          </a:lstStyle>
          <a:p>
            <a:r>
              <a:rPr lang="en-GB" altLang="zh-TW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TRODUCTION</a:t>
            </a:r>
            <a:r>
              <a:rPr lang="en-GB" altLang="zh-TW" dirty="0"/>
              <a:t>	OVERVIEW	RECOMMENDATION 1	RECOMMENDATION 2	CONCLUSION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394461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xStyles>
    <p:titleStyle>
      <a:lvl1pPr algn="ctr" defTabSz="9144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3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larify on error condi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183639" y="1117244"/>
            <a:ext cx="2831253" cy="407113"/>
          </a:xfrm>
          <a:prstGeom prst="rect">
            <a:avLst/>
          </a:prstGeom>
          <a:noFill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604878"/>
                </a:solidFill>
                <a:effectLst/>
                <a:uLnTx/>
                <a:uFillTx/>
                <a:latin typeface="Segoe UI"/>
                <a:ea typeface="微軟正黑體"/>
                <a:cs typeface="+mn-cs"/>
              </a:rPr>
              <a:t>Submit prompt</a:t>
            </a:r>
          </a:p>
        </p:txBody>
      </p:sp>
      <p:sp>
        <p:nvSpPr>
          <p:cNvPr id="4" name="Rectangle 3"/>
          <p:cNvSpPr/>
          <p:nvPr/>
        </p:nvSpPr>
        <p:spPr>
          <a:xfrm>
            <a:off x="1183639" y="2650367"/>
            <a:ext cx="2831253" cy="407113"/>
          </a:xfrm>
          <a:prstGeom prst="rect">
            <a:avLst/>
          </a:prstGeom>
          <a:noFill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604878"/>
                </a:solidFill>
                <a:effectLst/>
                <a:uLnTx/>
                <a:uFillTx/>
                <a:latin typeface="Segoe UI"/>
                <a:ea typeface="微軟正黑體"/>
                <a:cs typeface="+mn-cs"/>
              </a:rPr>
              <a:t>Internal processing</a:t>
            </a:r>
          </a:p>
        </p:txBody>
      </p:sp>
      <p:sp>
        <p:nvSpPr>
          <p:cNvPr id="5" name="Rectangle 4"/>
          <p:cNvSpPr/>
          <p:nvPr/>
        </p:nvSpPr>
        <p:spPr>
          <a:xfrm>
            <a:off x="1183639" y="4147091"/>
            <a:ext cx="2831253" cy="407113"/>
          </a:xfrm>
          <a:prstGeom prst="rect">
            <a:avLst/>
          </a:prstGeom>
          <a:noFill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604878"/>
                </a:solidFill>
                <a:effectLst/>
                <a:uLnTx/>
                <a:uFillTx/>
                <a:latin typeface="Segoe UI"/>
                <a:ea typeface="微軟正黑體"/>
                <a:cs typeface="+mn-cs"/>
              </a:rPr>
              <a:t>Present output</a:t>
            </a:r>
          </a:p>
        </p:txBody>
      </p:sp>
      <p:sp>
        <p:nvSpPr>
          <p:cNvPr id="6" name="Diamond 5"/>
          <p:cNvSpPr/>
          <p:nvPr/>
        </p:nvSpPr>
        <p:spPr>
          <a:xfrm>
            <a:off x="1304902" y="1753973"/>
            <a:ext cx="2588727" cy="685800"/>
          </a:xfrm>
          <a:prstGeom prst="diamond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Exceeded input limit?</a:t>
            </a:r>
          </a:p>
        </p:txBody>
      </p:sp>
      <p:sp>
        <p:nvSpPr>
          <p:cNvPr id="7" name="Diamond 6"/>
          <p:cNvSpPr/>
          <p:nvPr/>
        </p:nvSpPr>
        <p:spPr>
          <a:xfrm>
            <a:off x="1304902" y="3258654"/>
            <a:ext cx="2588727" cy="685800"/>
          </a:xfrm>
          <a:prstGeom prst="diamond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Exceeded history limit?</a:t>
            </a:r>
          </a:p>
        </p:txBody>
      </p:sp>
      <p:cxnSp>
        <p:nvCxnSpPr>
          <p:cNvPr id="9" name="Elbow Connector 8"/>
          <p:cNvCxnSpPr>
            <a:stCxn id="33" idx="1"/>
            <a:endCxn id="3" idx="1"/>
          </p:cNvCxnSpPr>
          <p:nvPr/>
        </p:nvCxnSpPr>
        <p:spPr>
          <a:xfrm rot="10800000" flipH="1">
            <a:off x="1081947" y="1320801"/>
            <a:ext cx="101692" cy="3835256"/>
          </a:xfrm>
          <a:prstGeom prst="bentConnector3">
            <a:avLst>
              <a:gd name="adj1" fmla="val -457918"/>
            </a:avLst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3" idx="2"/>
            <a:endCxn id="6" idx="0"/>
          </p:cNvCxnSpPr>
          <p:nvPr/>
        </p:nvCxnSpPr>
        <p:spPr>
          <a:xfrm>
            <a:off x="2599266" y="1524357"/>
            <a:ext cx="0" cy="229616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6" idx="2"/>
            <a:endCxn id="4" idx="0"/>
          </p:cNvCxnSpPr>
          <p:nvPr/>
        </p:nvCxnSpPr>
        <p:spPr>
          <a:xfrm>
            <a:off x="2599266" y="2439773"/>
            <a:ext cx="0" cy="210594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4" idx="2"/>
            <a:endCxn id="7" idx="0"/>
          </p:cNvCxnSpPr>
          <p:nvPr/>
        </p:nvCxnSpPr>
        <p:spPr>
          <a:xfrm>
            <a:off x="2599266" y="3057480"/>
            <a:ext cx="0" cy="201174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7" idx="2"/>
            <a:endCxn id="5" idx="0"/>
          </p:cNvCxnSpPr>
          <p:nvPr/>
        </p:nvCxnSpPr>
        <p:spPr>
          <a:xfrm>
            <a:off x="2599266" y="3944454"/>
            <a:ext cx="0" cy="202637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527156" y="1803979"/>
            <a:ext cx="325672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Error on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exceeding input token limit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(e.g. 32,000 tokens for 4o)</a:t>
            </a:r>
          </a:p>
        </p:txBody>
      </p:sp>
      <p:cxnSp>
        <p:nvCxnSpPr>
          <p:cNvPr id="27" name="Straight Arrow Connector 26"/>
          <p:cNvCxnSpPr>
            <a:stCxn id="6" idx="3"/>
            <a:endCxn id="25" idx="1"/>
          </p:cNvCxnSpPr>
          <p:nvPr/>
        </p:nvCxnSpPr>
        <p:spPr>
          <a:xfrm flipV="1">
            <a:off x="3893629" y="2096367"/>
            <a:ext cx="633527" cy="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527156" y="3015633"/>
            <a:ext cx="34843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Individual responses against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input lim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(e.g., 32,000 tokens for 4o?)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527155" y="4863669"/>
            <a:ext cx="33913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Error on exceeding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output token limit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(e.g., 4,000 tokens for 4o)</a:t>
            </a:r>
          </a:p>
        </p:txBody>
      </p:sp>
      <p:sp>
        <p:nvSpPr>
          <p:cNvPr id="33" name="Diamond 32"/>
          <p:cNvSpPr/>
          <p:nvPr/>
        </p:nvSpPr>
        <p:spPr>
          <a:xfrm>
            <a:off x="1081947" y="4813157"/>
            <a:ext cx="3034636" cy="685800"/>
          </a:xfrm>
          <a:prstGeom prst="diamond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Exceeded output &amp; history limit?</a:t>
            </a:r>
          </a:p>
        </p:txBody>
      </p:sp>
      <p:cxnSp>
        <p:nvCxnSpPr>
          <p:cNvPr id="34" name="Straight Arrow Connector 33"/>
          <p:cNvCxnSpPr>
            <a:stCxn id="5" idx="2"/>
            <a:endCxn id="33" idx="0"/>
          </p:cNvCxnSpPr>
          <p:nvPr/>
        </p:nvCxnSpPr>
        <p:spPr>
          <a:xfrm flipH="1">
            <a:off x="2599265" y="4554204"/>
            <a:ext cx="1" cy="258953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33" idx="3"/>
            <a:endCxn id="32" idx="1"/>
          </p:cNvCxnSpPr>
          <p:nvPr/>
        </p:nvCxnSpPr>
        <p:spPr>
          <a:xfrm>
            <a:off x="4116583" y="5156057"/>
            <a:ext cx="41057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4538057" y="5796791"/>
            <a:ext cx="38129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Error on exceeding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overall(?) context limit?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(e.g., 128,000 tokens for 4o?)</a:t>
            </a:r>
          </a:p>
        </p:txBody>
      </p:sp>
      <p:cxnSp>
        <p:nvCxnSpPr>
          <p:cNvPr id="51" name="Elbow Connector 50"/>
          <p:cNvCxnSpPr>
            <a:stCxn id="33" idx="2"/>
            <a:endCxn id="49" idx="1"/>
          </p:cNvCxnSpPr>
          <p:nvPr/>
        </p:nvCxnSpPr>
        <p:spPr>
          <a:xfrm rot="16200000" flipH="1">
            <a:off x="3273550" y="4824672"/>
            <a:ext cx="590222" cy="193879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3" name="Rounded Rectangle 82"/>
          <p:cNvSpPr/>
          <p:nvPr/>
        </p:nvSpPr>
        <p:spPr>
          <a:xfrm>
            <a:off x="8666551" y="2388754"/>
            <a:ext cx="1981201" cy="33020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微軟正黑體"/>
                <a:cs typeface="+mn-cs"/>
              </a:rPr>
              <a:t>Implemented</a:t>
            </a:r>
          </a:p>
        </p:txBody>
      </p:sp>
      <p:sp>
        <p:nvSpPr>
          <p:cNvPr id="84" name="Rounded Rectangle 83"/>
          <p:cNvSpPr/>
          <p:nvPr/>
        </p:nvSpPr>
        <p:spPr>
          <a:xfrm>
            <a:off x="8666550" y="3756366"/>
            <a:ext cx="1981201" cy="3302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微軟正黑體"/>
                <a:cs typeface="+mn-cs"/>
              </a:rPr>
              <a:t>Refine msg.</a:t>
            </a:r>
          </a:p>
        </p:txBody>
      </p:sp>
      <p:sp>
        <p:nvSpPr>
          <p:cNvPr id="85" name="Rounded Rectangle 84"/>
          <p:cNvSpPr/>
          <p:nvPr/>
        </p:nvSpPr>
        <p:spPr>
          <a:xfrm>
            <a:off x="8666550" y="5192629"/>
            <a:ext cx="1981201" cy="33020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微軟正黑體"/>
                <a:cs typeface="+mn-cs"/>
              </a:rPr>
              <a:t>Implemented</a:t>
            </a:r>
          </a:p>
        </p:txBody>
      </p:sp>
      <p:sp>
        <p:nvSpPr>
          <p:cNvPr id="86" name="Rounded Rectangle 85"/>
          <p:cNvSpPr/>
          <p:nvPr/>
        </p:nvSpPr>
        <p:spPr>
          <a:xfrm>
            <a:off x="8666550" y="6105160"/>
            <a:ext cx="1981201" cy="3302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微軟正黑體"/>
                <a:cs typeface="+mn-cs"/>
              </a:rPr>
              <a:t>To develop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8596725" y="1796409"/>
            <a:ext cx="3141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Do not allow user to submit prompt unless trim down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8596725" y="3096743"/>
            <a:ext cx="3141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Do not allow follow up question, ask user to start a new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convo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.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8590352" y="4863669"/>
            <a:ext cx="31411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Truncated responses with msg.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8590352" y="5766606"/>
            <a:ext cx="31411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Currently no error handling? 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4538057" y="1115246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微軟正黑體"/>
                <a:cs typeface="+mn-cs"/>
              </a:rPr>
              <a:t>Checking condition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8574635" y="1115246"/>
            <a:ext cx="23285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微軟正黑體"/>
                <a:cs typeface="+mn-cs"/>
              </a:rPr>
              <a:t>Expected behaviour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538057" y="3570309"/>
            <a:ext cx="340388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Aggregate against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history token limi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F2936"/>
                </a:solidFill>
                <a:effectLst/>
                <a:uLnTx/>
                <a:uFillTx/>
                <a:latin typeface="Segoe UI Light"/>
                <a:ea typeface="微軟正黑體"/>
                <a:cs typeface="+mn-cs"/>
              </a:rPr>
              <a:t>(e.g., 92,000 tokens for 4o?)</a:t>
            </a:r>
          </a:p>
        </p:txBody>
      </p:sp>
    </p:spTree>
    <p:extLst>
      <p:ext uri="{BB962C8B-B14F-4D97-AF65-F5344CB8AC3E}">
        <p14:creationId xmlns:p14="http://schemas.microsoft.com/office/powerpoint/2010/main" val="3908022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6E0E2-C00C-06F1-AD13-5318827B11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2A00A0A3-7066-B260-79F7-A0CC93FB6B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3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flowchart of a program&#10;&#10;Description automatically generated">
            <a:extLst>
              <a:ext uri="{FF2B5EF4-FFF2-40B4-BE49-F238E27FC236}">
                <a16:creationId xmlns:a16="http://schemas.microsoft.com/office/drawing/2014/main" id="{9030164A-C4AF-5BC7-B375-1D4FC713605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5074" y="74428"/>
            <a:ext cx="9811400" cy="670914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895FCE1-A9E4-2218-3954-67404FB07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ormal Flow</a:t>
            </a:r>
          </a:p>
        </p:txBody>
      </p:sp>
    </p:spTree>
    <p:extLst>
      <p:ext uri="{BB962C8B-B14F-4D97-AF65-F5344CB8AC3E}">
        <p14:creationId xmlns:p14="http://schemas.microsoft.com/office/powerpoint/2010/main" val="31472076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179CFB-78F2-1AA4-7FC1-FF8E1B625B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F0D064F0-5B4B-5BD5-AA1D-ECAE718E64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3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521EED-6308-F53B-3121-88B0758E0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Tavily</a:t>
            </a:r>
            <a:r>
              <a:rPr lang="en-GB" dirty="0"/>
              <a:t> Search Flow</a:t>
            </a:r>
          </a:p>
        </p:txBody>
      </p:sp>
      <p:pic>
        <p:nvPicPr>
          <p:cNvPr id="14" name="Picture 13" descr="A diagram of a flowchart&#10;&#10;Description automatically generated">
            <a:extLst>
              <a:ext uri="{FF2B5EF4-FFF2-40B4-BE49-F238E27FC236}">
                <a16:creationId xmlns:a16="http://schemas.microsoft.com/office/drawing/2014/main" id="{8B908A9F-2505-DFEA-A2D8-E85838213CB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0948" y="0"/>
            <a:ext cx="52901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657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9C1C18-0915-1AA6-1E83-178BC50AD2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1F62BAF6-EADD-BB71-1BC8-2BC64F4A3B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3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C665D6-DB57-84FE-66CD-A8B821340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49" y="-31899"/>
            <a:ext cx="11952651" cy="836712"/>
          </a:xfrm>
        </p:spPr>
        <p:txBody>
          <a:bodyPr vert="horz"/>
          <a:lstStyle/>
          <a:p>
            <a:r>
              <a:rPr lang="en-GB" dirty="0"/>
              <a:t>Document Intelligence Flow</a:t>
            </a:r>
          </a:p>
        </p:txBody>
      </p:sp>
      <p:pic>
        <p:nvPicPr>
          <p:cNvPr id="14" name="Picture 13" descr="A diagram of a flowchart&#10;&#10;Description automatically generated">
            <a:extLst>
              <a:ext uri="{FF2B5EF4-FFF2-40B4-BE49-F238E27FC236}">
                <a16:creationId xmlns:a16="http://schemas.microsoft.com/office/drawing/2014/main" id="{A2D357BE-A1BF-7D9D-4AD0-406BAB9F073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321" y="577843"/>
            <a:ext cx="11087964" cy="6141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2575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rence Template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Terence_2">
      <a:majorFont>
        <a:latin typeface="Segoe UI"/>
        <a:ea typeface="微軟正黑體"/>
        <a:cs typeface=""/>
      </a:majorFont>
      <a:minorFont>
        <a:latin typeface="Segoe UI Light"/>
        <a:ea typeface="微軟正黑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AF76D4EF-2F9D-48C5-8A01-7C18F0948A05}" vid="{4298DB62-7E47-4D25-A398-970A22DB887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76</TotalTime>
  <Words>151</Words>
  <Application>Microsoft Office PowerPoint</Application>
  <PresentationFormat>Widescreen</PresentationFormat>
  <Paragraphs>2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微軟正黑體</vt:lpstr>
      <vt:lpstr>Arial</vt:lpstr>
      <vt:lpstr>Segoe UI</vt:lpstr>
      <vt:lpstr>Segoe UI Light</vt:lpstr>
      <vt:lpstr>Terence Template</vt:lpstr>
      <vt:lpstr>think-cell Slide</vt:lpstr>
      <vt:lpstr>Clarify on error condition</vt:lpstr>
      <vt:lpstr>Normal Flow</vt:lpstr>
      <vt:lpstr>Tavily Search Flow</vt:lpstr>
      <vt:lpstr>Document Intelligence Flo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rify on error condition</dc:title>
  <dc:creator>Ip Hong Ching, Alex</dc:creator>
  <cp:lastModifiedBy>KWOK Choi-chung, Jones</cp:lastModifiedBy>
  <cp:revision>3</cp:revision>
  <dcterms:created xsi:type="dcterms:W3CDTF">2024-10-02T10:54:32Z</dcterms:created>
  <dcterms:modified xsi:type="dcterms:W3CDTF">2024-10-09T07:47:24Z</dcterms:modified>
</cp:coreProperties>
</file>